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0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271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8A8A8"/>
    <a:srgbClr val="CDCDCD"/>
    <a:srgbClr val="F6F6F6"/>
    <a:srgbClr val="5A5A5A"/>
    <a:srgbClr val="8D8D8D"/>
    <a:srgbClr val="C60018"/>
    <a:srgbClr val="444444"/>
    <a:srgbClr val="E5E5E5"/>
    <a:srgbClr val="BDBDBD"/>
    <a:srgbClr val="7272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271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Weigel Stefan (PAR-EPS)" userId="fd3b2067-2981-4ad8-bf3a-d2e1004e4fa8" providerId="ADAL" clId="{DB4A4C2E-B5B4-487F-958A-F3C7DDD556E7}"/>
    <pc:docChg chg="modSld">
      <pc:chgData name="Weigel Stefan (PAR-EPS)" userId="fd3b2067-2981-4ad8-bf3a-d2e1004e4fa8" providerId="ADAL" clId="{DB4A4C2E-B5B4-487F-958A-F3C7DDD556E7}" dt="2024-04-22T11:27:19.500" v="41"/>
      <pc:docMkLst>
        <pc:docMk/>
      </pc:docMkLst>
      <pc:sldChg chg="modSp mod setBg">
        <pc:chgData name="Weigel Stefan (PAR-EPS)" userId="fd3b2067-2981-4ad8-bf3a-d2e1004e4fa8" providerId="ADAL" clId="{DB4A4C2E-B5B4-487F-958A-F3C7DDD556E7}" dt="2024-04-22T11:27:19.500" v="41"/>
        <pc:sldMkLst>
          <pc:docMk/>
          <pc:sldMk cId="287567285" sldId="410"/>
        </pc:sldMkLst>
        <pc:spChg chg="mod">
          <ac:chgData name="Weigel Stefan (PAR-EPS)" userId="fd3b2067-2981-4ad8-bf3a-d2e1004e4fa8" providerId="ADAL" clId="{DB4A4C2E-B5B4-487F-958A-F3C7DDD556E7}" dt="2024-04-22T11:25:14.733" v="40" actId="1037"/>
          <ac:spMkLst>
            <pc:docMk/>
            <pc:sldMk cId="287567285" sldId="410"/>
            <ac:spMk id="10" creationId="{A3DB4B5C-8AF8-4D76-8E11-2708D9423565}"/>
          </ac:spMkLst>
        </pc:spChg>
        <pc:graphicFrameChg chg="mod">
          <ac:chgData name="Weigel Stefan (PAR-EPS)" userId="fd3b2067-2981-4ad8-bf3a-d2e1004e4fa8" providerId="ADAL" clId="{DB4A4C2E-B5B4-487F-958A-F3C7DDD556E7}" dt="2024-04-22T11:27:19.500" v="41"/>
          <ac:graphicFrameMkLst>
            <pc:docMk/>
            <pc:sldMk cId="287567285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E2588595-EFD6-4111-82AA-6B3A3E3A0367}"/>
    <pc:docChg chg="delSld">
      <pc:chgData name="Meyer Raphael (PAR-ES)" userId="79615dfe-ed48-4e74-a40f-4f7b034c1c27" providerId="ADAL" clId="{E2588595-EFD6-4111-82AA-6B3A3E3A0367}" dt="2022-03-03T14:53:17.525" v="1" actId="47"/>
      <pc:docMkLst>
        <pc:docMk/>
      </pc:docMkLst>
      <pc:sldChg chg="del">
        <pc:chgData name="Meyer Raphael (PAR-ES)" userId="79615dfe-ed48-4e74-a40f-4f7b034c1c27" providerId="ADAL" clId="{E2588595-EFD6-4111-82AA-6B3A3E3A0367}" dt="2022-03-03T14:53:13.265" v="0" actId="47"/>
        <pc:sldMkLst>
          <pc:docMk/>
          <pc:sldMk cId="2001825019" sldId="407"/>
        </pc:sldMkLst>
      </pc:sldChg>
      <pc:sldChg chg="del">
        <pc:chgData name="Meyer Raphael (PAR-ES)" userId="79615dfe-ed48-4e74-a40f-4f7b034c1c27" providerId="ADAL" clId="{E2588595-EFD6-4111-82AA-6B3A3E3A0367}" dt="2022-03-03T14:53:17.525" v="1" actId="47"/>
        <pc:sldMkLst>
          <pc:docMk/>
          <pc:sldMk cId="2775483100" sldId="408"/>
        </pc:sldMkLst>
      </pc:sldChg>
      <pc:sldChg chg="del">
        <pc:chgData name="Meyer Raphael (PAR-ES)" userId="79615dfe-ed48-4e74-a40f-4f7b034c1c27" providerId="ADAL" clId="{E2588595-EFD6-4111-82AA-6B3A3E3A0367}" dt="2022-03-03T14:53:17.525" v="1" actId="47"/>
        <pc:sldMkLst>
          <pc:docMk/>
          <pc:sldMk cId="236440730" sldId="409"/>
        </pc:sldMkLst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Weigel Stefan (PAR-EPS)" userId="fd3b2067-2981-4ad8-bf3a-d2e1004e4fa8" providerId="ADAL" clId="{A82ECD84-37ED-4EF1-B179-3AF8EC44DF82}"/>
    <pc:docChg chg="modSld">
      <pc:chgData name="Weigel Stefan (PAR-EPS)" userId="fd3b2067-2981-4ad8-bf3a-d2e1004e4fa8" providerId="ADAL" clId="{A82ECD84-37ED-4EF1-B179-3AF8EC44DF82}" dt="2025-02-24T08:14:44.347" v="3" actId="27918"/>
      <pc:docMkLst>
        <pc:docMk/>
      </pc:docMkLst>
      <pc:sldChg chg="modSp mod">
        <pc:chgData name="Weigel Stefan (PAR-EPS)" userId="fd3b2067-2981-4ad8-bf3a-d2e1004e4fa8" providerId="ADAL" clId="{A82ECD84-37ED-4EF1-B179-3AF8EC44DF82}" dt="2025-02-24T08:14:44.347" v="3" actId="27918"/>
        <pc:sldMkLst>
          <pc:docMk/>
          <pc:sldMk cId="287567285" sldId="410"/>
        </pc:sldMkLst>
        <pc:spChg chg="mod">
          <ac:chgData name="Weigel Stefan (PAR-EPS)" userId="fd3b2067-2981-4ad8-bf3a-d2e1004e4fa8" providerId="ADAL" clId="{A82ECD84-37ED-4EF1-B179-3AF8EC44DF82}" dt="2025-02-24T08:14:35.237" v="0" actId="790"/>
          <ac:spMkLst>
            <pc:docMk/>
            <pc:sldMk cId="287567285" sldId="410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Weigel Stefan (PAR-EPS)" userId="fd3b2067-2981-4ad8-bf3a-d2e1004e4fa8" providerId="ADAL" clId="{514B821E-C160-4CBD-B6BF-E899341E90D7}"/>
    <pc:docChg chg="modSld">
      <pc:chgData name="Weigel Stefan (PAR-EPS)" userId="fd3b2067-2981-4ad8-bf3a-d2e1004e4fa8" providerId="ADAL" clId="{514B821E-C160-4CBD-B6BF-E899341E90D7}" dt="2024-02-01T17:14:18.702" v="15" actId="27918"/>
      <pc:docMkLst>
        <pc:docMk/>
      </pc:docMkLst>
      <pc:sldChg chg="mod">
        <pc:chgData name="Weigel Stefan (PAR-EPS)" userId="fd3b2067-2981-4ad8-bf3a-d2e1004e4fa8" providerId="ADAL" clId="{514B821E-C160-4CBD-B6BF-E899341E90D7}" dt="2024-02-01T17:14:18.702" v="15" actId="27918"/>
        <pc:sldMkLst>
          <pc:docMk/>
          <pc:sldMk cId="287567285" sldId="410"/>
        </pc:sldMkLst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019F8519-991A-42F8-8A00-1073315C524B}"/>
    <pc:docChg chg="custSel addSld delSld modSld sldOrd">
      <pc:chgData name="Meyer Raphael (PAR-ES)" userId="79615dfe-ed48-4e74-a40f-4f7b034c1c27" providerId="ADAL" clId="{019F8519-991A-42F8-8A00-1073315C524B}" dt="2022-03-03T14:42:21.972" v="53" actId="27918"/>
      <pc:docMkLst>
        <pc:docMk/>
      </pc:docMkLst>
      <pc:sldChg chg="modSp mod">
        <pc:chgData name="Meyer Raphael (PAR-ES)" userId="79615dfe-ed48-4e74-a40f-4f7b034c1c27" providerId="ADAL" clId="{019F8519-991A-42F8-8A00-1073315C524B}" dt="2022-03-03T14:34:57.432" v="7" actId="27918"/>
        <pc:sldMkLst>
          <pc:docMk/>
          <pc:sldMk cId="2001825019" sldId="407"/>
        </pc:sldMkLst>
        <pc:graphicFrameChg chg="mod">
          <ac:chgData name="Meyer Raphael (PAR-ES)" userId="79615dfe-ed48-4e74-a40f-4f7b034c1c27" providerId="ADAL" clId="{019F8519-991A-42F8-8A00-1073315C524B}" dt="2022-03-03T14:34:25.718" v="4"/>
          <ac:graphicFrameMkLst>
            <pc:docMk/>
            <pc:sldMk cId="2001825019" sldId="407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19F8519-991A-42F8-8A00-1073315C524B}" dt="2022-03-03T14:40:31.808" v="38" actId="27918"/>
        <pc:sldMkLst>
          <pc:docMk/>
          <pc:sldMk cId="2775483100" sldId="408"/>
        </pc:sldMkLst>
        <pc:spChg chg="mod">
          <ac:chgData name="Meyer Raphael (PAR-ES)" userId="79615dfe-ed48-4e74-a40f-4f7b034c1c27" providerId="ADAL" clId="{019F8519-991A-42F8-8A00-1073315C524B}" dt="2022-03-03T14:39:21.783" v="23"/>
          <ac:spMkLst>
            <pc:docMk/>
            <pc:sldMk cId="2775483100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39:35.158" v="25" actId="20577"/>
          <ac:spMkLst>
            <pc:docMk/>
            <pc:sldMk cId="2775483100" sldId="408"/>
            <ac:spMk id="8" creationId="{41FD5CBC-8C89-4499-B28B-5EC68806F1EB}"/>
          </ac:spMkLst>
        </pc:spChg>
        <pc:spChg chg="mod">
          <ac:chgData name="Meyer Raphael (PAR-ES)" userId="79615dfe-ed48-4e74-a40f-4f7b034c1c27" providerId="ADAL" clId="{019F8519-991A-42F8-8A00-1073315C524B}" dt="2022-03-03T14:39:57.410" v="31" actId="20577"/>
          <ac:spMkLst>
            <pc:docMk/>
            <pc:sldMk cId="2775483100" sldId="408"/>
            <ac:spMk id="10" creationId="{A3DB4B5C-8AF8-4D76-8E11-2708D9423565}"/>
          </ac:spMkLst>
        </pc:spChg>
      </pc:sldChg>
      <pc:sldChg chg="del">
        <pc:chgData name="Meyer Raphael (PAR-ES)" userId="79615dfe-ed48-4e74-a40f-4f7b034c1c27" providerId="ADAL" clId="{019F8519-991A-42F8-8A00-1073315C524B}" dt="2022-03-03T14:32:30.075" v="0" actId="47"/>
        <pc:sldMkLst>
          <pc:docMk/>
          <pc:sldMk cId="2820921500" sldId="408"/>
        </pc:sldMkLst>
      </pc:sldChg>
      <pc:sldChg chg="modSp add mod">
        <pc:chgData name="Meyer Raphael (PAR-ES)" userId="79615dfe-ed48-4e74-a40f-4f7b034c1c27" providerId="ADAL" clId="{019F8519-991A-42F8-8A00-1073315C524B}" dt="2022-03-03T14:42:21.972" v="53" actId="27918"/>
        <pc:sldMkLst>
          <pc:docMk/>
          <pc:sldMk cId="236440730" sldId="409"/>
        </pc:sldMkLst>
        <pc:spChg chg="mod">
          <ac:chgData name="Meyer Raphael (PAR-ES)" userId="79615dfe-ed48-4e74-a40f-4f7b034c1c27" providerId="ADAL" clId="{019F8519-991A-42F8-8A00-1073315C524B}" dt="2022-03-03T14:41:17.944" v="39"/>
          <ac:spMkLst>
            <pc:docMk/>
            <pc:sldMk cId="236440730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41:30.816" v="41" actId="20577"/>
          <ac:spMkLst>
            <pc:docMk/>
            <pc:sldMk cId="236440730" sldId="409"/>
            <ac:spMk id="8" creationId="{41FD5CBC-8C89-4499-B28B-5EC68806F1EB}"/>
          </ac:spMkLst>
        </pc:spChg>
        <pc:spChg chg="mod">
          <ac:chgData name="Meyer Raphael (PAR-ES)" userId="79615dfe-ed48-4e74-a40f-4f7b034c1c27" providerId="ADAL" clId="{019F8519-991A-42F8-8A00-1073315C524B}" dt="2022-03-03T14:41:48.239" v="46" actId="20577"/>
          <ac:spMkLst>
            <pc:docMk/>
            <pc:sldMk cId="236440730" sldId="409"/>
            <ac:spMk id="10" creationId="{A3DB4B5C-8AF8-4D76-8E11-2708D9423565}"/>
          </ac:spMkLst>
        </pc:spChg>
      </pc:sldChg>
      <pc:sldChg chg="modSp add mod ord">
        <pc:chgData name="Meyer Raphael (PAR-ES)" userId="79615dfe-ed48-4e74-a40f-4f7b034c1c27" providerId="ADAL" clId="{019F8519-991A-42F8-8A00-1073315C524B}" dt="2022-03-03T14:38:53.634" v="22"/>
        <pc:sldMkLst>
          <pc:docMk/>
          <pc:sldMk cId="287567285" sldId="410"/>
        </pc:sldMkLst>
        <pc:spChg chg="mod">
          <ac:chgData name="Meyer Raphael (PAR-ES)" userId="79615dfe-ed48-4e74-a40f-4f7b034c1c27" providerId="ADAL" clId="{019F8519-991A-42F8-8A00-1073315C524B}" dt="2022-03-03T14:36:27.101" v="11"/>
          <ac:spMkLst>
            <pc:docMk/>
            <pc:sldMk cId="287567285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36:37.807" v="13" actId="20577"/>
          <ac:spMkLst>
            <pc:docMk/>
            <pc:sldMk cId="287567285" sldId="410"/>
            <ac:spMk id="8" creationId="{41FD5CBC-8C89-4499-B28B-5EC68806F1EB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739DFE60-D730-4917-81EF-765A9D479C11}"/>
    <pc:docChg chg="custSel modSld">
      <pc:chgData name="Meyer Raphael (PAR-ES)" userId="79615dfe-ed48-4e74-a40f-4f7b034c1c27" providerId="ADAL" clId="{739DFE60-D730-4917-81EF-765A9D479C11}" dt="2023-02-24T11:03:26.577" v="4" actId="478"/>
      <pc:docMkLst>
        <pc:docMk/>
      </pc:docMkLst>
      <pc:sldChg chg="delSp mod">
        <pc:chgData name="Meyer Raphael (PAR-ES)" userId="79615dfe-ed48-4e74-a40f-4f7b034c1c27" providerId="ADAL" clId="{739DFE60-D730-4917-81EF-765A9D479C11}" dt="2023-02-24T11:03:26.577" v="4" actId="478"/>
        <pc:sldMkLst>
          <pc:docMk/>
          <pc:sldMk cId="287567285" sldId="410"/>
        </pc:sldMkLst>
        <pc:spChg chg="del">
          <ac:chgData name="Meyer Raphael (PAR-ES)" userId="79615dfe-ed48-4e74-a40f-4f7b034c1c27" providerId="ADAL" clId="{739DFE60-D730-4917-81EF-765A9D479C11}" dt="2023-02-24T11:03:26.577" v="4" actId="478"/>
          <ac:spMkLst>
            <pc:docMk/>
            <pc:sldMk cId="287567285" sldId="410"/>
            <ac:spMk id="11" creationId="{045A27AD-E3C8-4822-85DF-F2C9129A4E35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62907529120849E-2"/>
          <c:y val="9.0509769134196866E-2"/>
          <c:w val="0.88406650614954119"/>
          <c:h val="0.6950633170483312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Passenger Services</c:v>
                </c:pt>
              </c:strCache>
            </c:strRef>
          </c:tx>
          <c:spPr>
            <a:solidFill>
              <a:srgbClr val="CDCDCD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4263.012500000001</c:v>
                </c:pt>
                <c:pt idx="1">
                  <c:v>14269.518333333301</c:v>
                </c:pt>
                <c:pt idx="2">
                  <c:v>14278.76</c:v>
                </c:pt>
                <c:pt idx="3">
                  <c:v>14234.0841666667</c:v>
                </c:pt>
                <c:pt idx="4">
                  <c:v>13989.9183333333</c:v>
                </c:pt>
                <c:pt idx="5">
                  <c:v>14192.7133333333</c:v>
                </c:pt>
                <c:pt idx="6">
                  <c:v>14680.4273333333</c:v>
                </c:pt>
                <c:pt idx="7">
                  <c:v>15055.8178333333</c:v>
                </c:pt>
                <c:pt idx="8">
                  <c:v>15124.152</c:v>
                </c:pt>
                <c:pt idx="9">
                  <c:v>15304.7903333333</c:v>
                </c:pt>
                <c:pt idx="10">
                  <c:v>15679.432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32-475B-9895-C8153D632F4B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Real Estate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816.52</c:v>
                </c:pt>
                <c:pt idx="1">
                  <c:v>816.73749999999995</c:v>
                </c:pt>
                <c:pt idx="2">
                  <c:v>791.30833333333305</c:v>
                </c:pt>
                <c:pt idx="3">
                  <c:v>779.07666666666705</c:v>
                </c:pt>
                <c:pt idx="4">
                  <c:v>775.75833333333298</c:v>
                </c:pt>
                <c:pt idx="5">
                  <c:v>790.16250000000002</c:v>
                </c:pt>
                <c:pt idx="6">
                  <c:v>793.05</c:v>
                </c:pt>
                <c:pt idx="7">
                  <c:v>780.30416666666702</c:v>
                </c:pt>
                <c:pt idx="8">
                  <c:v>1012.3375</c:v>
                </c:pt>
                <c:pt idx="9">
                  <c:v>1111.9875</c:v>
                </c:pt>
                <c:pt idx="10">
                  <c:v>116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Freight Section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2995.4666666666699</c:v>
                </c:pt>
                <c:pt idx="1">
                  <c:v>3111.4358333333298</c:v>
                </c:pt>
                <c:pt idx="2">
                  <c:v>3075.0916666666699</c:v>
                </c:pt>
                <c:pt idx="3">
                  <c:v>3114.4974999999999</c:v>
                </c:pt>
                <c:pt idx="4">
                  <c:v>3084.3791666666698</c:v>
                </c:pt>
                <c:pt idx="5">
                  <c:v>3131.9108333333302</c:v>
                </c:pt>
                <c:pt idx="6">
                  <c:v>3225.45166666667</c:v>
                </c:pt>
                <c:pt idx="7">
                  <c:v>3222.3150000000001</c:v>
                </c:pt>
                <c:pt idx="8">
                  <c:v>3283.7908333333298</c:v>
                </c:pt>
                <c:pt idx="9">
                  <c:v>3382.0668333333301</c:v>
                </c:pt>
                <c:pt idx="10">
                  <c:v>3388.27916666666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cture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10375.9333333333</c:v>
                </c:pt>
                <c:pt idx="1">
                  <c:v>10313.2808333333</c:v>
                </c:pt>
                <c:pt idx="2">
                  <c:v>10322.555</c:v>
                </c:pt>
                <c:pt idx="3">
                  <c:v>10077.1675</c:v>
                </c:pt>
                <c:pt idx="4">
                  <c:v>9857.0010000000002</c:v>
                </c:pt>
                <c:pt idx="5">
                  <c:v>9776.7006666666693</c:v>
                </c:pt>
                <c:pt idx="6">
                  <c:v>9978.1352499999994</c:v>
                </c:pt>
                <c:pt idx="7">
                  <c:v>9999.1679999999997</c:v>
                </c:pt>
                <c:pt idx="8">
                  <c:v>9834.6158333333296</c:v>
                </c:pt>
                <c:pt idx="9">
                  <c:v>10060.2183333333</c:v>
                </c:pt>
                <c:pt idx="10">
                  <c:v>10152.6641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32-475B-9895-C8153D632F4B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Group-level units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4405.7124999999996</c:v>
                </c:pt>
                <c:pt idx="1">
                  <c:v>4570.2008333333297</c:v>
                </c:pt>
                <c:pt idx="2">
                  <c:v>4650.9224999999997</c:v>
                </c:pt>
                <c:pt idx="3">
                  <c:v>4549.5791666666701</c:v>
                </c:pt>
                <c:pt idx="4">
                  <c:v>4601.68</c:v>
                </c:pt>
                <c:pt idx="5">
                  <c:v>4643.5958333333301</c:v>
                </c:pt>
                <c:pt idx="6">
                  <c:v>4821.2974999999997</c:v>
                </c:pt>
                <c:pt idx="7">
                  <c:v>4885.0749999999998</c:v>
                </c:pt>
                <c:pt idx="8">
                  <c:v>4972.0209999999997</c:v>
                </c:pt>
                <c:pt idx="9">
                  <c:v>5127.7668333333304</c:v>
                </c:pt>
                <c:pt idx="10">
                  <c:v>5188.6708333333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</c:barChart>
      <c:lineChart>
        <c:grouping val="standard"/>
        <c:varyColors val="0"/>
        <c:ser>
          <c:idx val="5"/>
          <c:order val="5"/>
          <c:tx>
            <c:strRef>
              <c:f>data!$H$8</c:f>
              <c:strCache>
                <c:ptCount val="1"/>
                <c:pt idx="0">
                  <c:v>Female employees</c:v>
                </c:pt>
              </c:strCache>
            </c:strRef>
          </c:tx>
          <c:spPr>
            <a:ln>
              <a:solidFill>
                <a:schemeClr val="accent3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H$9:$H$19</c:f>
              <c:numCache>
                <c:formatCode>#,##0.0</c:formatCode>
                <c:ptCount val="11"/>
                <c:pt idx="0">
                  <c:v>16.706779904993098</c:v>
                </c:pt>
                <c:pt idx="1">
                  <c:v>16.869850128369801</c:v>
                </c:pt>
                <c:pt idx="2">
                  <c:v>16.9864016168254</c:v>
                </c:pt>
                <c:pt idx="3">
                  <c:v>17.086566956641398</c:v>
                </c:pt>
                <c:pt idx="4">
                  <c:v>17.294466952361901</c:v>
                </c:pt>
                <c:pt idx="5">
                  <c:v>17.743488314596998</c:v>
                </c:pt>
                <c:pt idx="6">
                  <c:v>18.388368529331199</c:v>
                </c:pt>
                <c:pt idx="7">
                  <c:v>18.807508997179099</c:v>
                </c:pt>
                <c:pt idx="8">
                  <c:v>19.004231973653201</c:v>
                </c:pt>
                <c:pt idx="9">
                  <c:v>19.434275579273599</c:v>
                </c:pt>
                <c:pt idx="10">
                  <c:v>19.938913781608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,##0;#\,##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0"/>
      </c:valAx>
      <c:valAx>
        <c:axId val="164956032"/>
        <c:scaling>
          <c:orientation val="minMax"/>
          <c:max val="40"/>
        </c:scaling>
        <c:delete val="0"/>
        <c:axPos val="r"/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100"/>
            </a:pPr>
            <a:endParaRPr lang="de-DE"/>
          </a:p>
        </c:txPr>
        <c:crossAx val="165049088"/>
        <c:crosses val="max"/>
        <c:crossBetween val="between"/>
        <c:majorUnit val="10"/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6.95664953037895E-2"/>
          <c:y val="0.8577299716702298"/>
          <c:w val="0.93043339623869326"/>
          <c:h val="0.106874244744039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3362</cdr:x>
      <cdr:y>0.06064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09948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>
              <a:solidFill>
                <a:srgbClr val="444444"/>
              </a:solidFill>
              <a:latin typeface="+mj-lt"/>
              <a:cs typeface="Arial" pitchFamily="34" charset="0"/>
            </a:rPr>
            <a:t>FTE</a:t>
          </a:r>
        </a:p>
      </cdr:txBody>
    </cdr:sp>
  </cdr:relSizeAnchor>
  <cdr:relSizeAnchor xmlns:cdr="http://schemas.openxmlformats.org/drawingml/2006/chartDrawing">
    <cdr:from>
      <cdr:x>0.9031</cdr:x>
      <cdr:y>0</cdr:y>
    </cdr:from>
    <cdr:to>
      <cdr:x>1</cdr:x>
      <cdr:y>0.06064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326759" y="0"/>
          <a:ext cx="893441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100" dirty="0">
              <a:solidFill>
                <a:srgbClr val="444444"/>
              </a:solidFill>
              <a:latin typeface="+mj-lt"/>
              <a:cs typeface="Arial" pitchFamily="34" charset="0"/>
            </a:rPr>
            <a:t>% </a:t>
          </a:r>
          <a:r>
            <a:rPr lang="en-US" sz="1100" dirty="0">
              <a:latin typeface="+mj-lt"/>
            </a:rPr>
            <a:t>employees</a:t>
          </a:r>
          <a:endParaRPr lang="de-CH" sz="1100" dirty="0">
            <a:solidFill>
              <a:srgbClr val="444444"/>
            </a:solidFill>
            <a:latin typeface="+mj-lt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63649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BB workforce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144630180"/>
              </p:ext>
            </p:extLst>
          </p:nvPr>
        </p:nvGraphicFramePr>
        <p:xfrm>
          <a:off x="1494169" y="1886295"/>
          <a:ext cx="9220200" cy="42065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41FD5CBC-8C89-4499-B28B-5EC68806F1EB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Yearly average workforce in full-time equivalents of the SBB Group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854194" y="5932311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75672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B9A20E1-054D-4D73-A214-4080E56F8A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purl.org/dc/elements/1.1/"/>
    <ds:schemaRef ds:uri="http://www.w3.org/XML/1998/namespace"/>
    <ds:schemaRef ds:uri="http://purl.org/dc/terms/"/>
    <ds:schemaRef ds:uri="http://schemas.microsoft.com/office/infopath/2007/PartnerControls"/>
    <ds:schemaRef ds:uri="2f5c8543-cf23-4718-a3b8-32b0a91d511a"/>
    <ds:schemaRef ds:uri="http://schemas.microsoft.com/office/2006/documentManagement/types"/>
    <ds:schemaRef ds:uri="96e82a89-ba48-4728-b345-cf206dbec8f1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5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SBB workforc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B workforce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5-02-24T12:59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